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9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5E-41C7-A2FB-5880BAD543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5E-41C7-A2FB-5880BAD543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5E-41C7-A2FB-5880BAD543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BD-41CD-8883-8ABF92A9B7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BD-41CD-8883-8ABF92A9B7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BD-41CD-8883-8ABF92A9B7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6D757F-93D7-1AEB-E07E-499EBE2574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31360D5-F6AC-9757-2956-217506F694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1360D5-F6AC-9757-2956-217506F69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3EFFDB01-F426-217C-520B-02DDFDCCF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100% Stacked Column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EF01386-58F2-395E-EEFB-4667AFEE6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543119C0-83BF-6B54-7012-27228D79D1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068DFE4-D211-D6AE-033B-A07E247815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D110B7A8-6DA3-00B8-F673-A2EFFCE3C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10" name="Chart Placeholder 12">
            <a:extLst>
              <a:ext uri="{FF2B5EF4-FFF2-40B4-BE49-F238E27FC236}">
                <a16:creationId xmlns:a16="http://schemas.microsoft.com/office/drawing/2014/main" id="{97E0CA85-2035-8B69-E40C-0B3BAABE2890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D019776A-334C-39F1-EF3B-C8C98CAC644F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8015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0</TotalTime>
  <Words>23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100% Stacked Column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32</cp:revision>
  <dcterms:created xsi:type="dcterms:W3CDTF">2025-07-09T10:57:17Z</dcterms:created>
  <dcterms:modified xsi:type="dcterms:W3CDTF">2025-10-22T10:04:50Z</dcterms:modified>
  <cp:category/>
</cp:coreProperties>
</file>